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6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0792E-7D40-3FB0-F112-0257638561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20288FA-A4C3-6A12-E396-308CD8AB69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0288FA-A4C3-6A12-E396-308CD8AB69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ED2984-8377-B783-3816-E27969F3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8CBE0700-D77F-A761-3491-B66E2FE127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FE93CA75-FC5D-5EE7-D9FB-6593E05AD75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40761814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9</TotalTime>
  <Words>15</Words>
  <Application>Microsoft Office PowerPoint</Application>
  <PresentationFormat>Widescreen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Click to edit Master title sty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300</cp:revision>
  <dcterms:created xsi:type="dcterms:W3CDTF">2025-07-09T10:57:17Z</dcterms:created>
  <dcterms:modified xsi:type="dcterms:W3CDTF">2025-10-22T10:14:42Z</dcterms:modified>
  <cp:category/>
</cp:coreProperties>
</file>